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969FED-D8E6-43EC-BAD5-53753D7F8DB8}" v="43" dt="2024-09-03T04:05:09.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jp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jp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nshul Sathe</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dirty="0"/>
              <a:t>Kanban &amp; Agile streamline workflow with visualization and WIP limits. Software Testing covers SDLC, STLC, and various testing types. DevOps integrates development and operations with CI/CD. Databases include RDBMS, NoSQL, and more. Cloud Computing offers flexible resources and benefits. Infrastructure Components form the backbone of IT systems.</a:t>
            </a:r>
            <a:endParaRPr lang="en-US" sz="24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chart with many colored squares&#10;&#10;Description automatically generated with medium confidence">
            <a:extLst>
              <a:ext uri="{FF2B5EF4-FFF2-40B4-BE49-F238E27FC236}">
                <a16:creationId xmlns:a16="http://schemas.microsoft.com/office/drawing/2014/main" id="{BD5F0A0B-9A5B-5441-51E2-6A692D1683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18727" y="2465600"/>
            <a:ext cx="4514850" cy="2867025"/>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problem so far. Implemented importance of Scrum and workflows in practical lif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 name="Picture 8" descr="A cartoon frog wearing sunglasses and a hand gesture&#10;&#10;Description automatically generated">
            <a:extLst>
              <a:ext uri="{FF2B5EF4-FFF2-40B4-BE49-F238E27FC236}">
                <a16:creationId xmlns:a16="http://schemas.microsoft.com/office/drawing/2014/main" id="{0FB36D52-6C30-E8C0-9414-3B2712B20B92}"/>
              </a:ext>
            </a:extLst>
          </p:cNvPr>
          <p:cNvPicPr>
            <a:picLocks noChangeAspect="1"/>
          </p:cNvPicPr>
          <p:nvPr/>
        </p:nvPicPr>
        <p:blipFill>
          <a:blip r:embed="rId7">
            <a:extLst>
              <a:ext uri="{28A0092B-C50C-407E-A947-70E740481C1C}">
                <a14:useLocalDpi xmlns:a14="http://schemas.microsoft.com/office/drawing/2010/main" val="0"/>
              </a:ext>
            </a:extLst>
          </a:blip>
          <a:srcRect t="15753" b="17867"/>
          <a:stretch/>
        </p:blipFill>
        <p:spPr>
          <a:xfrm>
            <a:off x="6799692" y="2387982"/>
            <a:ext cx="4552920" cy="3022262"/>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problem so far. Learnt the importance of testing, coding and system integration.</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yellow emoji giving thumbs up&#10;&#10;Description automatically generated">
            <a:extLst>
              <a:ext uri="{FF2B5EF4-FFF2-40B4-BE49-F238E27FC236}">
                <a16:creationId xmlns:a16="http://schemas.microsoft.com/office/drawing/2014/main" id="{EDF93031-9526-9BDB-E635-024C24C45AB2}"/>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739889" y="2455618"/>
            <a:ext cx="4786630" cy="288699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Dev Ops, DBMS and Cloud concepts were thoroughly collaborated and revised.</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 name="Picture 5" descr="A group of people hugging&#10;&#10;Description automatically generated">
            <a:extLst>
              <a:ext uri="{FF2B5EF4-FFF2-40B4-BE49-F238E27FC236}">
                <a16:creationId xmlns:a16="http://schemas.microsoft.com/office/drawing/2014/main" id="{43A50472-3685-079A-F664-805D04C6612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2188" y="2232839"/>
            <a:ext cx="5007928" cy="3332548"/>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 these skill in practically in real lif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Working on DBMS and cloud implementation problems.</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Goals achieved.</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GB" dirty="0"/>
              <a:t>Learning can be fun! Kanban &amp; Agile make work smoother. Software Testing ensures everything works. DevOps blends development and operations seamlessly. Databases store all our data. Cloud Computing offers flexible, cost-effective resources. Infrastructure Components like servers and networking keep everything running smoothly. Enjoy the tech journey!</a:t>
            </a:r>
            <a:endParaRPr lang="en-US" dirty="0"/>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ollage of images of a person and a child&#10;&#10;Description automatically generated">
            <a:extLst>
              <a:ext uri="{FF2B5EF4-FFF2-40B4-BE49-F238E27FC236}">
                <a16:creationId xmlns:a16="http://schemas.microsoft.com/office/drawing/2014/main" id="{FA1725BE-8529-2DE6-425D-CCAAE261EF0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596043" y="2761883"/>
            <a:ext cx="4960219" cy="2480110"/>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We learnt the importance of Agile workflows, Scrum, CI/CD concepts.</a:t>
            </a:r>
          </a:p>
          <a:p>
            <a:pPr>
              <a:lnSpc>
                <a:spcPct val="100000"/>
              </a:lnSpc>
            </a:pPr>
            <a:r>
              <a:rPr lang="en-US" sz="2400" dirty="0"/>
              <a:t>Cloud, DBMS and Dev-Ops will also be used in real life scenarios</a:t>
            </a:r>
          </a:p>
          <a:p>
            <a:pPr>
              <a:lnSpc>
                <a:spcPct val="100000"/>
              </a:lnSpc>
            </a:pPr>
            <a:r>
              <a:rPr lang="en-US" sz="2400" dirty="0"/>
              <a:t>We will start with IDSO specific training from next week.</a:t>
            </a:r>
          </a:p>
          <a:p>
            <a:pPr marL="0" indent="0">
              <a:lnSpc>
                <a:spcPct val="100000"/>
              </a:lnSpc>
              <a:buNone/>
            </a:pPr>
            <a:endParaRPr lang="en-US" sz="24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There’s no job too immense when you got confidence.”</a:t>
            </a:r>
          </a:p>
          <a:p>
            <a:pPr marL="0" indent="0" algn="ctr">
              <a:buFont typeface="Arial" panose="020B0604020202020204" pitchFamily="34" charset="0"/>
              <a:buNone/>
            </a:pPr>
            <a:r>
              <a:rPr lang="en-US" sz="2000" dirty="0"/>
              <a:t>		- Elvis Presley</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6" name="Picture 5" descr="A cartoon frog with a sad face&#10;&#10;Description automatically generated">
            <a:extLst>
              <a:ext uri="{FF2B5EF4-FFF2-40B4-BE49-F238E27FC236}">
                <a16:creationId xmlns:a16="http://schemas.microsoft.com/office/drawing/2014/main" id="{D45259FB-BC34-6093-4773-083962D483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59454" y="1953159"/>
            <a:ext cx="3833397" cy="3833397"/>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Story Pointing: Estimation</a:t>
            </a:r>
          </a:p>
          <a:p>
            <a:r>
              <a:rPr lang="en-US" sz="2400" dirty="0"/>
              <a:t>Definitions (</a:t>
            </a:r>
            <a:r>
              <a:rPr lang="en-US" sz="2400" dirty="0" err="1"/>
              <a:t>DoR</a:t>
            </a:r>
            <a:r>
              <a:rPr lang="en-US" sz="2400" dirty="0"/>
              <a:t> &amp; DoD): Criteria &amp; Completion</a:t>
            </a:r>
          </a:p>
          <a:p>
            <a:r>
              <a:rPr lang="en-US" sz="2400" dirty="0"/>
              <a:t>Scrum Board &amp; Progress: Visualization &amp; Advancement</a:t>
            </a:r>
          </a:p>
          <a:p>
            <a:r>
              <a:rPr lang="en-US" sz="2400" dirty="0"/>
              <a:t>Environments (Scrum, Development, etc.): Frameworks &amp; Stages</a:t>
            </a:r>
          </a:p>
          <a:p>
            <a:r>
              <a:rPr lang="en-US" sz="2400" dirty="0"/>
              <a:t>Workflows (Agile &amp; Scrum): Iterative &amp; Sprint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4" name="Picture 13" descr="A diagram of a scrum&#10;&#10;Description automatically generated">
            <a:extLst>
              <a:ext uri="{FF2B5EF4-FFF2-40B4-BE49-F238E27FC236}">
                <a16:creationId xmlns:a16="http://schemas.microsoft.com/office/drawing/2014/main" id="{FCABA703-642E-E16E-7F04-E64C8A9AD85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127241" y="2032213"/>
            <a:ext cx="3733799" cy="3733799"/>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Kanban: Visualization, WIP Limits, Flow, Improvement</a:t>
            </a:r>
          </a:p>
          <a:p>
            <a:r>
              <a:rPr lang="en-US" sz="2000" dirty="0"/>
              <a:t>Estimation: Work, Effort, Time</a:t>
            </a:r>
          </a:p>
          <a:p>
            <a:r>
              <a:rPr lang="en-US" sz="2000" dirty="0"/>
              <a:t>Charts: Burndown, Burnup, Velocity</a:t>
            </a:r>
          </a:p>
          <a:p>
            <a:r>
              <a:rPr lang="en-US" sz="2000" dirty="0"/>
              <a:t>Software Testing: SDLC, System, Integration, Unit, Coding</a:t>
            </a:r>
          </a:p>
          <a:p>
            <a:r>
              <a:rPr lang="en-US" sz="2000" dirty="0"/>
              <a:t>STLC: Strategy, Plan, Design, Environment, Execution, Reporting, Closure</a:t>
            </a:r>
          </a:p>
          <a:p>
            <a:r>
              <a:rPr lang="en-US" sz="2000" dirty="0"/>
              <a:t>Testing Types: Static, Dynamic, Functional, Non-functional, White-box, Black-box, Automated, Manual</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diagram of software testing life cycle&#10;&#10;Description automatically generated">
            <a:extLst>
              <a:ext uri="{FF2B5EF4-FFF2-40B4-BE49-F238E27FC236}">
                <a16:creationId xmlns:a16="http://schemas.microsoft.com/office/drawing/2014/main" id="{F0449433-82B0-7CC8-DED1-D63F51D5A9A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68257" y="2006053"/>
            <a:ext cx="3589241" cy="3786120"/>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Kanban &amp; Agile: Visualization, WIP Limits, Flow, Improvement, Estimation (Work, Effort, Time)</a:t>
            </a:r>
          </a:p>
          <a:p>
            <a:r>
              <a:rPr lang="en-US" dirty="0"/>
              <a:t>Software Testing: SDLC, STLC, Testing Types (Static, Dynamic, Functional, Non-functional, White-box, Black-box, Automated, Manual)</a:t>
            </a:r>
          </a:p>
          <a:p>
            <a:r>
              <a:rPr lang="en-US" dirty="0"/>
              <a:t>DevOps: Lifecycle, Principles, Benefits, Tools, CI/CD, GitHub Actions</a:t>
            </a:r>
          </a:p>
          <a:p>
            <a:r>
              <a:rPr lang="en-US" dirty="0"/>
              <a:t>Databases: RDBMS, NoSQL, Data Warehouse, Graph Database, OLTP</a:t>
            </a:r>
          </a:p>
          <a:p>
            <a:r>
              <a:rPr lang="en-US" dirty="0"/>
              <a:t>Cloud Computing: Elasticity, Access, On-demand, Cost, Benefits (Cost Savings, Scalability, Security, Speed), SaaS, PaaS, IaaS</a:t>
            </a:r>
          </a:p>
          <a:p>
            <a:r>
              <a:rPr lang="en-US" dirty="0"/>
              <a:t>Infrastructure Components: Servers, Storage, Networking, Virtualization, Load Balancing, Securit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6" name="Picture 5" descr="A diagram of a process&#10;&#10;Description automatically generated with medium confidence">
            <a:extLst>
              <a:ext uri="{FF2B5EF4-FFF2-40B4-BE49-F238E27FC236}">
                <a16:creationId xmlns:a16="http://schemas.microsoft.com/office/drawing/2014/main" id="{A66B22E8-3EF5-F51E-6601-0A23861BEF2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18727" y="2775163"/>
            <a:ext cx="4514850" cy="2247900"/>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These topics have helped me understand how workflow in a team is maintained and how we are supposed to communicate with stakeholders to ensure that the product we deliver is very relevant to the stakeholders and the public as well. Efficiency and effort are both optimized this wa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15" name="Picture 14" descr="A person in a suit and tie&#10;&#10;Description automatically generated">
            <a:extLst>
              <a:ext uri="{FF2B5EF4-FFF2-40B4-BE49-F238E27FC236}">
                <a16:creationId xmlns:a16="http://schemas.microsoft.com/office/drawing/2014/main" id="{1A6AFAB0-E730-E70B-9E3E-6EACA7062E83}"/>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256700" y="2079661"/>
            <a:ext cx="3638904" cy="3638904"/>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
        <p:nvSpPr>
          <p:cNvPr id="6" name="TextBox 5">
            <a:extLst>
              <a:ext uri="{FF2B5EF4-FFF2-40B4-BE49-F238E27FC236}">
                <a16:creationId xmlns:a16="http://schemas.microsoft.com/office/drawing/2014/main" id="{0A351800-C756-8B0C-5F74-6C126AEE92F2}"/>
              </a:ext>
            </a:extLst>
          </p:cNvPr>
          <p:cNvSpPr txBox="1"/>
          <p:nvPr/>
        </p:nvSpPr>
        <p:spPr>
          <a:xfrm>
            <a:off x="593744" y="2006287"/>
            <a:ext cx="5350706" cy="2308324"/>
          </a:xfrm>
          <a:prstGeom prst="rect">
            <a:avLst/>
          </a:prstGeom>
          <a:noFill/>
        </p:spPr>
        <p:txBody>
          <a:bodyPr wrap="square" rtlCol="0">
            <a:spAutoFit/>
          </a:bodyPr>
          <a:lstStyle/>
          <a:p>
            <a:r>
              <a:rPr lang="en-GB" sz="2400" dirty="0"/>
              <a:t>We learnt a lot about the technical side of the job. Software testing and training is an integral part of whatever we do at Shell. Coding and system also teaches a lot about how to implement this knowledge in real life.</a:t>
            </a:r>
          </a:p>
        </p:txBody>
      </p:sp>
      <p:pic>
        <p:nvPicPr>
          <p:cNvPr id="9" name="Picture 8" descr="A person holding a tablet&#10;&#10;Description automatically generated">
            <a:extLst>
              <a:ext uri="{FF2B5EF4-FFF2-40B4-BE49-F238E27FC236}">
                <a16:creationId xmlns:a16="http://schemas.microsoft.com/office/drawing/2014/main" id="{4A557F56-A0BB-D953-95BA-8E96BA6D07E9}"/>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300495" y="2118840"/>
            <a:ext cx="3560545" cy="3560545"/>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751</TotalTime>
  <Words>675</Words>
  <Application>Microsoft Office PowerPoint</Application>
  <PresentationFormat>Widescreen</PresentationFormat>
  <Paragraphs>70</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athe, Anshul S SBOBNG-PTIV/RA</cp:lastModifiedBy>
  <cp:revision>502</cp:revision>
  <dcterms:created xsi:type="dcterms:W3CDTF">2022-01-18T12:35:56Z</dcterms:created>
  <dcterms:modified xsi:type="dcterms:W3CDTF">2024-09-06T15: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